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5"/>
  </p:sldMasterIdLst>
  <p:notesMasterIdLst>
    <p:notesMasterId r:id="rId13"/>
  </p:notesMasterIdLst>
  <p:handoutMasterIdLst>
    <p:handoutMasterId r:id="rId14"/>
  </p:handoutMasterIdLst>
  <p:sldIdLst>
    <p:sldId id="316" r:id="rId6"/>
    <p:sldId id="265" r:id="rId7"/>
    <p:sldId id="266" r:id="rId8"/>
    <p:sldId id="320" r:id="rId9"/>
    <p:sldId id="326" r:id="rId10"/>
    <p:sldId id="327" r:id="rId11"/>
    <p:sldId id="325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BFBFBF"/>
    <a:srgbClr val="6F6F71"/>
    <a:srgbClr val="414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Grid="0">
      <p:cViewPr>
        <p:scale>
          <a:sx n="70" d="100"/>
          <a:sy n="70" d="100"/>
        </p:scale>
        <p:origin x="88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4962" y="1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Sadler" userId="79373e60-b76c-478b-903f-5ebac5dc7128" providerId="ADAL" clId="{54653001-49C4-450E-81A6-5DC00E476FDB}"/>
    <pc:docChg chg="undo custSel addSld delSld modSld">
      <pc:chgData name="Jonathan Sadler" userId="79373e60-b76c-478b-903f-5ebac5dc7128" providerId="ADAL" clId="{54653001-49C4-450E-81A6-5DC00E476FDB}" dt="2023-12-08T21:43:19.744" v="1407" actId="2696"/>
      <pc:docMkLst>
        <pc:docMk/>
      </pc:docMkLst>
      <pc:sldChg chg="del">
        <pc:chgData name="Jonathan Sadler" userId="79373e60-b76c-478b-903f-5ebac5dc7128" providerId="ADAL" clId="{54653001-49C4-450E-81A6-5DC00E476FDB}" dt="2023-12-08T21:43:19.744" v="1407" actId="2696"/>
        <pc:sldMkLst>
          <pc:docMk/>
          <pc:sldMk cId="1434125530" sldId="324"/>
        </pc:sldMkLst>
      </pc:sldChg>
      <pc:sldChg chg="add del">
        <pc:chgData name="Jonathan Sadler" userId="79373e60-b76c-478b-903f-5ebac5dc7128" providerId="ADAL" clId="{54653001-49C4-450E-81A6-5DC00E476FDB}" dt="2023-12-08T21:43:04.047" v="1404" actId="2696"/>
        <pc:sldMkLst>
          <pc:docMk/>
          <pc:sldMk cId="3691454603" sldId="325"/>
        </pc:sldMkLst>
      </pc:sldChg>
      <pc:sldChg chg="modSp new mod">
        <pc:chgData name="Jonathan Sadler" userId="79373e60-b76c-478b-903f-5ebac5dc7128" providerId="ADAL" clId="{54653001-49C4-450E-81A6-5DC00E476FDB}" dt="2023-12-08T21:42:05.518" v="1331" actId="27636"/>
        <pc:sldMkLst>
          <pc:docMk/>
          <pc:sldMk cId="80742283" sldId="326"/>
        </pc:sldMkLst>
        <pc:spChg chg="mod">
          <ac:chgData name="Jonathan Sadler" userId="79373e60-b76c-478b-903f-5ebac5dc7128" providerId="ADAL" clId="{54653001-49C4-450E-81A6-5DC00E476FDB}" dt="2023-12-08T21:30:25.002" v="76" actId="20577"/>
          <ac:spMkLst>
            <pc:docMk/>
            <pc:sldMk cId="80742283" sldId="326"/>
            <ac:spMk id="2" creationId="{C25F0D34-593D-6012-AD09-84F25EC4081B}"/>
          </ac:spMkLst>
        </pc:spChg>
        <pc:spChg chg="mod">
          <ac:chgData name="Jonathan Sadler" userId="79373e60-b76c-478b-903f-5ebac5dc7128" providerId="ADAL" clId="{54653001-49C4-450E-81A6-5DC00E476FDB}" dt="2023-12-08T21:42:05.518" v="1331" actId="27636"/>
          <ac:spMkLst>
            <pc:docMk/>
            <pc:sldMk cId="80742283" sldId="326"/>
            <ac:spMk id="3" creationId="{C6B7EF3D-4E43-0957-66CB-00FC9E9FCFCF}"/>
          </ac:spMkLst>
        </pc:spChg>
      </pc:sldChg>
      <pc:sldChg chg="modSp new mod">
        <pc:chgData name="Jonathan Sadler" userId="79373e60-b76c-478b-903f-5ebac5dc7128" providerId="ADAL" clId="{54653001-49C4-450E-81A6-5DC00E476FDB}" dt="2023-12-08T21:42:46.993" v="1402" actId="20577"/>
        <pc:sldMkLst>
          <pc:docMk/>
          <pc:sldMk cId="672248864" sldId="327"/>
        </pc:sldMkLst>
        <pc:spChg chg="mod">
          <ac:chgData name="Jonathan Sadler" userId="79373e60-b76c-478b-903f-5ebac5dc7128" providerId="ADAL" clId="{54653001-49C4-450E-81A6-5DC00E476FDB}" dt="2023-12-08T21:42:29.416" v="1367" actId="20577"/>
          <ac:spMkLst>
            <pc:docMk/>
            <pc:sldMk cId="672248864" sldId="327"/>
            <ac:spMk id="2" creationId="{174B3EBA-6EDD-04C7-6B4D-3C92C401AFD9}"/>
          </ac:spMkLst>
        </pc:spChg>
        <pc:spChg chg="mod">
          <ac:chgData name="Jonathan Sadler" userId="79373e60-b76c-478b-903f-5ebac5dc7128" providerId="ADAL" clId="{54653001-49C4-450E-81A6-5DC00E476FDB}" dt="2023-12-08T21:42:46.993" v="1402" actId="20577"/>
          <ac:spMkLst>
            <pc:docMk/>
            <pc:sldMk cId="672248864" sldId="327"/>
            <ac:spMk id="3" creationId="{B9535C6B-DF54-77B2-F9A0-BB2CE862DBD8}"/>
          </ac:spMkLst>
        </pc:spChg>
      </pc:sldChg>
      <pc:sldChg chg="add del">
        <pc:chgData name="Jonathan Sadler" userId="79373e60-b76c-478b-903f-5ebac5dc7128" providerId="ADAL" clId="{54653001-49C4-450E-81A6-5DC00E476FDB}" dt="2023-12-08T21:43:13.562" v="1406" actId="2696"/>
        <pc:sldMkLst>
          <pc:docMk/>
          <pc:sldMk cId="763949031" sldId="32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44F3B2-A4F3-4D3E-848F-65ED498D3B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6FC08-AC91-4856-8D1B-41576AF0EC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68FEC-E224-494A-8783-13954A95E985}" type="datetimeFigureOut">
              <a:rPr lang="en-US" sz="1000" smtClean="0">
                <a:solidFill>
                  <a:schemeClr val="tx2"/>
                </a:solidFill>
              </a:rPr>
              <a:t>12/8/2023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AC6FB-545A-4E77-AB45-C2C22485A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C47D4-A914-4477-BC26-05EEDB6656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DFD79-4EC8-4022-A9C1-ACE465F9B6BD}" type="slidenum">
              <a:rPr lang="en-US" sz="1000" smtClean="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B0B66-E9D4-4E31-BCBF-4026B91B6D00}" type="datetimeFigureOut">
              <a:rPr lang="en-US" smtClean="0"/>
              <a:t>12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B9615-9050-483D-911C-F514DC4100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e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612B34-0743-45E5-6A43-606DD18011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3340" y="0"/>
            <a:ext cx="7988660" cy="685799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C2711972-DFF4-D836-5FF7-8477A9535C5D}"/>
              </a:ext>
            </a:extLst>
          </p:cNvPr>
          <p:cNvGrpSpPr/>
          <p:nvPr userDrawn="1"/>
        </p:nvGrpSpPr>
        <p:grpSpPr>
          <a:xfrm>
            <a:off x="-8312" y="-3175"/>
            <a:ext cx="7325027" cy="6863523"/>
            <a:chOff x="-8312" y="-3175"/>
            <a:chExt cx="7325027" cy="6863523"/>
          </a:xfrm>
        </p:grpSpPr>
        <p:sp>
          <p:nvSpPr>
            <p:cNvPr id="5" name="Rectangle 10">
              <a:extLst>
                <a:ext uri="{FF2B5EF4-FFF2-40B4-BE49-F238E27FC236}">
                  <a16:creationId xmlns:a16="http://schemas.microsoft.com/office/drawing/2014/main" id="{C45CEAB9-8D01-F4E4-CF32-6D93D0BA4C0E}"/>
                </a:ext>
              </a:extLst>
            </p:cNvPr>
            <p:cNvSpPr/>
            <p:nvPr/>
          </p:nvSpPr>
          <p:spPr>
            <a:xfrm>
              <a:off x="-8312" y="0"/>
              <a:ext cx="7321248" cy="6858000"/>
            </a:xfrm>
            <a:custGeom>
              <a:avLst/>
              <a:gdLst>
                <a:gd name="connsiteX0" fmla="*/ 0 w 6622137"/>
                <a:gd name="connsiteY0" fmla="*/ 0 h 6855204"/>
                <a:gd name="connsiteX1" fmla="*/ 6622137 w 6622137"/>
                <a:gd name="connsiteY1" fmla="*/ 0 h 6855204"/>
                <a:gd name="connsiteX2" fmla="*/ 6622137 w 6622137"/>
                <a:gd name="connsiteY2" fmla="*/ 6855204 h 6855204"/>
                <a:gd name="connsiteX3" fmla="*/ 0 w 6622137"/>
                <a:gd name="connsiteY3" fmla="*/ 6855204 h 6855204"/>
                <a:gd name="connsiteX4" fmla="*/ 0 w 6622137"/>
                <a:gd name="connsiteY4" fmla="*/ 0 h 6855204"/>
                <a:gd name="connsiteX0" fmla="*/ 0 w 8141655"/>
                <a:gd name="connsiteY0" fmla="*/ 0 h 6855204"/>
                <a:gd name="connsiteX1" fmla="*/ 8141655 w 8141655"/>
                <a:gd name="connsiteY1" fmla="*/ 0 h 6855204"/>
                <a:gd name="connsiteX2" fmla="*/ 6622137 w 8141655"/>
                <a:gd name="connsiteY2" fmla="*/ 6855204 h 6855204"/>
                <a:gd name="connsiteX3" fmla="*/ 0 w 8141655"/>
                <a:gd name="connsiteY3" fmla="*/ 6855204 h 6855204"/>
                <a:gd name="connsiteX4" fmla="*/ 0 w 8141655"/>
                <a:gd name="connsiteY4" fmla="*/ 0 h 6855204"/>
                <a:gd name="connsiteX0" fmla="*/ 0 w 8326840"/>
                <a:gd name="connsiteY0" fmla="*/ 0 h 6855204"/>
                <a:gd name="connsiteX1" fmla="*/ 8141655 w 8326840"/>
                <a:gd name="connsiteY1" fmla="*/ 0 h 6855204"/>
                <a:gd name="connsiteX2" fmla="*/ 6622137 w 8326840"/>
                <a:gd name="connsiteY2" fmla="*/ 6855204 h 6855204"/>
                <a:gd name="connsiteX3" fmla="*/ 0 w 8326840"/>
                <a:gd name="connsiteY3" fmla="*/ 6855204 h 6855204"/>
                <a:gd name="connsiteX4" fmla="*/ 0 w 8326840"/>
                <a:gd name="connsiteY4" fmla="*/ 0 h 6855204"/>
                <a:gd name="connsiteX0" fmla="*/ 0 w 8393590"/>
                <a:gd name="connsiteY0" fmla="*/ 0 h 6855204"/>
                <a:gd name="connsiteX1" fmla="*/ 8141655 w 8393590"/>
                <a:gd name="connsiteY1" fmla="*/ 0 h 6855204"/>
                <a:gd name="connsiteX2" fmla="*/ 6622137 w 8393590"/>
                <a:gd name="connsiteY2" fmla="*/ 6855204 h 6855204"/>
                <a:gd name="connsiteX3" fmla="*/ 0 w 8393590"/>
                <a:gd name="connsiteY3" fmla="*/ 6855204 h 6855204"/>
                <a:gd name="connsiteX4" fmla="*/ 0 w 8393590"/>
                <a:gd name="connsiteY4" fmla="*/ 0 h 6855204"/>
                <a:gd name="connsiteX0" fmla="*/ 1080655 w 8393590"/>
                <a:gd name="connsiteY0" fmla="*/ 0 h 6855204"/>
                <a:gd name="connsiteX1" fmla="*/ 8141655 w 8393590"/>
                <a:gd name="connsiteY1" fmla="*/ 0 h 6855204"/>
                <a:gd name="connsiteX2" fmla="*/ 6622137 w 8393590"/>
                <a:gd name="connsiteY2" fmla="*/ 6855204 h 6855204"/>
                <a:gd name="connsiteX3" fmla="*/ 0 w 8393590"/>
                <a:gd name="connsiteY3" fmla="*/ 6855204 h 6855204"/>
                <a:gd name="connsiteX4" fmla="*/ 1080655 w 8393590"/>
                <a:gd name="connsiteY4" fmla="*/ 0 h 6855204"/>
                <a:gd name="connsiteX0" fmla="*/ 92364 w 7405299"/>
                <a:gd name="connsiteY0" fmla="*/ 0 h 6855204"/>
                <a:gd name="connsiteX1" fmla="*/ 7153364 w 7405299"/>
                <a:gd name="connsiteY1" fmla="*/ 0 h 6855204"/>
                <a:gd name="connsiteX2" fmla="*/ 5633846 w 7405299"/>
                <a:gd name="connsiteY2" fmla="*/ 6855204 h 6855204"/>
                <a:gd name="connsiteX3" fmla="*/ 0 w 7405299"/>
                <a:gd name="connsiteY3" fmla="*/ 6836731 h 6855204"/>
                <a:gd name="connsiteX4" fmla="*/ 92364 w 7405299"/>
                <a:gd name="connsiteY4" fmla="*/ 0 h 6855204"/>
                <a:gd name="connsiteX0" fmla="*/ 0 w 7312935"/>
                <a:gd name="connsiteY0" fmla="*/ 0 h 6855204"/>
                <a:gd name="connsiteX1" fmla="*/ 7061000 w 7312935"/>
                <a:gd name="connsiteY1" fmla="*/ 0 h 6855204"/>
                <a:gd name="connsiteX2" fmla="*/ 5541482 w 7312935"/>
                <a:gd name="connsiteY2" fmla="*/ 6855204 h 6855204"/>
                <a:gd name="connsiteX3" fmla="*/ 36945 w 7312935"/>
                <a:gd name="connsiteY3" fmla="*/ 6836731 h 6855204"/>
                <a:gd name="connsiteX4" fmla="*/ 0 w 7312935"/>
                <a:gd name="connsiteY4" fmla="*/ 0 h 6855204"/>
                <a:gd name="connsiteX0" fmla="*/ 0 w 7312935"/>
                <a:gd name="connsiteY0" fmla="*/ 0 h 6855204"/>
                <a:gd name="connsiteX1" fmla="*/ 7061000 w 7312935"/>
                <a:gd name="connsiteY1" fmla="*/ 0 h 6855204"/>
                <a:gd name="connsiteX2" fmla="*/ 5541482 w 7312935"/>
                <a:gd name="connsiteY2" fmla="*/ 6855204 h 6855204"/>
                <a:gd name="connsiteX3" fmla="*/ 0 w 7312935"/>
                <a:gd name="connsiteY3" fmla="*/ 6845967 h 6855204"/>
                <a:gd name="connsiteX4" fmla="*/ 0 w 7312935"/>
                <a:gd name="connsiteY4" fmla="*/ 0 h 6855204"/>
                <a:gd name="connsiteX0" fmla="*/ 8313 w 7321248"/>
                <a:gd name="connsiteY0" fmla="*/ 0 h 6855204"/>
                <a:gd name="connsiteX1" fmla="*/ 7069313 w 7321248"/>
                <a:gd name="connsiteY1" fmla="*/ 0 h 6855204"/>
                <a:gd name="connsiteX2" fmla="*/ 5549795 w 7321248"/>
                <a:gd name="connsiteY2" fmla="*/ 6855204 h 6855204"/>
                <a:gd name="connsiteX3" fmla="*/ 0 w 7321248"/>
                <a:gd name="connsiteY3" fmla="*/ 6854269 h 6855204"/>
                <a:gd name="connsiteX4" fmla="*/ 8313 w 7321248"/>
                <a:gd name="connsiteY4" fmla="*/ 0 h 6855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1248" h="6855204">
                  <a:moveTo>
                    <a:pt x="8313" y="0"/>
                  </a:moveTo>
                  <a:lnTo>
                    <a:pt x="7069313" y="0"/>
                  </a:lnTo>
                  <a:cubicBezTo>
                    <a:pt x="7825077" y="3756059"/>
                    <a:pt x="6752040" y="4818615"/>
                    <a:pt x="5549795" y="6855204"/>
                  </a:cubicBezTo>
                  <a:lnTo>
                    <a:pt x="0" y="6854269"/>
                  </a:lnTo>
                  <a:lnTo>
                    <a:pt x="831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6" name="Rectangle 7">
              <a:extLst>
                <a:ext uri="{FF2B5EF4-FFF2-40B4-BE49-F238E27FC236}">
                  <a16:creationId xmlns:a16="http://schemas.microsoft.com/office/drawing/2014/main" id="{7A8A522B-1935-09F4-7C51-F449EDEC06CC}"/>
                </a:ext>
              </a:extLst>
            </p:cNvPr>
            <p:cNvSpPr/>
            <p:nvPr/>
          </p:nvSpPr>
          <p:spPr>
            <a:xfrm>
              <a:off x="5175770" y="-3175"/>
              <a:ext cx="2140945" cy="6863523"/>
            </a:xfrm>
            <a:custGeom>
              <a:avLst/>
              <a:gdLst>
                <a:gd name="connsiteX0" fmla="*/ 0 w 2156792"/>
                <a:gd name="connsiteY0" fmla="*/ 0 h 6858000"/>
                <a:gd name="connsiteX1" fmla="*/ 2156792 w 2156792"/>
                <a:gd name="connsiteY1" fmla="*/ 0 h 6858000"/>
                <a:gd name="connsiteX2" fmla="*/ 2156792 w 2156792"/>
                <a:gd name="connsiteY2" fmla="*/ 6858000 h 6858000"/>
                <a:gd name="connsiteX3" fmla="*/ 0 w 2156792"/>
                <a:gd name="connsiteY3" fmla="*/ 6858000 h 6858000"/>
                <a:gd name="connsiteX4" fmla="*/ 0 w 2156792"/>
                <a:gd name="connsiteY4" fmla="*/ 0 h 6858000"/>
                <a:gd name="connsiteX0" fmla="*/ 1779104 w 2156792"/>
                <a:gd name="connsiteY0" fmla="*/ 9939 h 6858000"/>
                <a:gd name="connsiteX1" fmla="*/ 2156792 w 2156792"/>
                <a:gd name="connsiteY1" fmla="*/ 0 h 6858000"/>
                <a:gd name="connsiteX2" fmla="*/ 2156792 w 2156792"/>
                <a:gd name="connsiteY2" fmla="*/ 6858000 h 6858000"/>
                <a:gd name="connsiteX3" fmla="*/ 0 w 2156792"/>
                <a:gd name="connsiteY3" fmla="*/ 6858000 h 6858000"/>
                <a:gd name="connsiteX4" fmla="*/ 1779104 w 2156792"/>
                <a:gd name="connsiteY4" fmla="*/ 9939 h 6858000"/>
                <a:gd name="connsiteX0" fmla="*/ 1779104 w 2156792"/>
                <a:gd name="connsiteY0" fmla="*/ 0 h 6848061"/>
                <a:gd name="connsiteX1" fmla="*/ 1878497 w 2156792"/>
                <a:gd name="connsiteY1" fmla="*/ 19878 h 6848061"/>
                <a:gd name="connsiteX2" fmla="*/ 2156792 w 2156792"/>
                <a:gd name="connsiteY2" fmla="*/ 6848061 h 6848061"/>
                <a:gd name="connsiteX3" fmla="*/ 0 w 2156792"/>
                <a:gd name="connsiteY3" fmla="*/ 6848061 h 6848061"/>
                <a:gd name="connsiteX4" fmla="*/ 1779104 w 2156792"/>
                <a:gd name="connsiteY4" fmla="*/ 0 h 6848061"/>
                <a:gd name="connsiteX0" fmla="*/ 1779104 w 1878497"/>
                <a:gd name="connsiteY0" fmla="*/ 0 h 6848061"/>
                <a:gd name="connsiteX1" fmla="*/ 1878497 w 1878497"/>
                <a:gd name="connsiteY1" fmla="*/ 19878 h 6848061"/>
                <a:gd name="connsiteX2" fmla="*/ 467139 w 1878497"/>
                <a:gd name="connsiteY2" fmla="*/ 6828183 h 6848061"/>
                <a:gd name="connsiteX3" fmla="*/ 0 w 1878497"/>
                <a:gd name="connsiteY3" fmla="*/ 6848061 h 6848061"/>
                <a:gd name="connsiteX4" fmla="*/ 1779104 w 1878497"/>
                <a:gd name="connsiteY4" fmla="*/ 0 h 6848061"/>
                <a:gd name="connsiteX0" fmla="*/ 1779104 w 1878497"/>
                <a:gd name="connsiteY0" fmla="*/ 0 h 6848061"/>
                <a:gd name="connsiteX1" fmla="*/ 1878497 w 1878497"/>
                <a:gd name="connsiteY1" fmla="*/ 19878 h 6848061"/>
                <a:gd name="connsiteX2" fmla="*/ 467139 w 1878497"/>
                <a:gd name="connsiteY2" fmla="*/ 6828183 h 6848061"/>
                <a:gd name="connsiteX3" fmla="*/ 0 w 1878497"/>
                <a:gd name="connsiteY3" fmla="*/ 6848061 h 6848061"/>
                <a:gd name="connsiteX4" fmla="*/ 1779104 w 1878497"/>
                <a:gd name="connsiteY4" fmla="*/ 0 h 6848061"/>
                <a:gd name="connsiteX0" fmla="*/ 1779104 w 2112058"/>
                <a:gd name="connsiteY0" fmla="*/ 0 h 6848061"/>
                <a:gd name="connsiteX1" fmla="*/ 1878497 w 2112058"/>
                <a:gd name="connsiteY1" fmla="*/ 19878 h 6848061"/>
                <a:gd name="connsiteX2" fmla="*/ 467139 w 2112058"/>
                <a:gd name="connsiteY2" fmla="*/ 6828183 h 6848061"/>
                <a:gd name="connsiteX3" fmla="*/ 0 w 2112058"/>
                <a:gd name="connsiteY3" fmla="*/ 6848061 h 6848061"/>
                <a:gd name="connsiteX4" fmla="*/ 1779104 w 2112058"/>
                <a:gd name="connsiteY4" fmla="*/ 0 h 6848061"/>
                <a:gd name="connsiteX0" fmla="*/ 1779104 w 2105583"/>
                <a:gd name="connsiteY0" fmla="*/ 0 h 6848061"/>
                <a:gd name="connsiteX1" fmla="*/ 1878497 w 2105583"/>
                <a:gd name="connsiteY1" fmla="*/ 19878 h 6848061"/>
                <a:gd name="connsiteX2" fmla="*/ 429039 w 2105583"/>
                <a:gd name="connsiteY2" fmla="*/ 6837708 h 6848061"/>
                <a:gd name="connsiteX3" fmla="*/ 0 w 2105583"/>
                <a:gd name="connsiteY3" fmla="*/ 6848061 h 6848061"/>
                <a:gd name="connsiteX4" fmla="*/ 1779104 w 2105583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9939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779104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9237"/>
                <a:gd name="connsiteY0" fmla="*/ 1212 h 6854807"/>
                <a:gd name="connsiteX1" fmla="*/ 1900799 w 2139237"/>
                <a:gd name="connsiteY1" fmla="*/ 0 h 6854807"/>
                <a:gd name="connsiteX2" fmla="*/ 432214 w 2139237"/>
                <a:gd name="connsiteY2" fmla="*/ 6854807 h 6854807"/>
                <a:gd name="connsiteX3" fmla="*/ 0 w 2139237"/>
                <a:gd name="connsiteY3" fmla="*/ 6849273 h 6854807"/>
                <a:gd name="connsiteX4" fmla="*/ 1812558 w 2139237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49273 h 6854807"/>
                <a:gd name="connsiteX4" fmla="*/ 1812558 w 2140945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49273 h 6854807"/>
                <a:gd name="connsiteX4" fmla="*/ 1812558 w 2140945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51789 h 6854807"/>
                <a:gd name="connsiteX4" fmla="*/ 1812558 w 2140945"/>
                <a:gd name="connsiteY4" fmla="*/ 1212 h 685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0945" h="6854807">
                  <a:moveTo>
                    <a:pt x="1812558" y="1212"/>
                  </a:moveTo>
                  <a:lnTo>
                    <a:pt x="1900799" y="0"/>
                  </a:lnTo>
                  <a:cubicBezTo>
                    <a:pt x="2493833" y="2835966"/>
                    <a:pt x="1981477" y="4932414"/>
                    <a:pt x="441739" y="6854807"/>
                  </a:cubicBezTo>
                  <a:cubicBezTo>
                    <a:pt x="444776" y="6852962"/>
                    <a:pt x="143013" y="6856805"/>
                    <a:pt x="0" y="6851789"/>
                  </a:cubicBezTo>
                  <a:cubicBezTo>
                    <a:pt x="2258207" y="4362108"/>
                    <a:pt x="2220708" y="2117129"/>
                    <a:pt x="1812558" y="1212"/>
                  </a:cubicBezTo>
                  <a:close/>
                </a:path>
              </a:pathLst>
            </a:custGeom>
            <a:gradFill>
              <a:gsLst>
                <a:gs pos="100000">
                  <a:srgbClr val="FBB300"/>
                </a:gs>
                <a:gs pos="0">
                  <a:srgbClr val="FF4900"/>
                </a:gs>
              </a:gsLst>
              <a:lin ang="162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2511" y="2131849"/>
            <a:ext cx="5039472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4400" b="1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806376" y="3281549"/>
            <a:ext cx="5005608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Name of Pres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5900" y="3733988"/>
            <a:ext cx="5005608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Dat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B804CA-C17F-8DF0-D2BD-C6E47B4C8469}"/>
              </a:ext>
            </a:extLst>
          </p:cNvPr>
          <p:cNvCxnSpPr>
            <a:cxnSpLocks/>
          </p:cNvCxnSpPr>
          <p:nvPr userDrawn="1"/>
        </p:nvCxnSpPr>
        <p:spPr>
          <a:xfrm>
            <a:off x="822633" y="3138083"/>
            <a:ext cx="4095423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rgbClr val="FF8500"/>
                </a:gs>
              </a:gsLst>
              <a:lin ang="0" scaled="0"/>
            </a:gra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595004-267F-DA31-4905-6A0174236E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796" y="676591"/>
            <a:ext cx="1883709" cy="47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372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3956" y="2821155"/>
            <a:ext cx="7844089" cy="121569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200">
                <a:solidFill>
                  <a:schemeClr val="bg1"/>
                </a:solidFill>
              </a:defRPr>
            </a:lvl1pPr>
            <a:lvl2pPr marL="304792" indent="0">
              <a:buFontTx/>
              <a:buNone/>
              <a:defRPr/>
            </a:lvl2pPr>
            <a:lvl3pPr marL="535504" indent="0">
              <a:buFontTx/>
              <a:buNone/>
              <a:defRPr/>
            </a:lvl3pPr>
            <a:lvl4pPr marL="764098" indent="0">
              <a:buFontTx/>
              <a:buNone/>
              <a:defRPr/>
            </a:lvl4pPr>
            <a:lvl5pPr marL="988458" indent="0">
              <a:buFontTx/>
              <a:buNone/>
              <a:defRPr/>
            </a:lvl5pPr>
          </a:lstStyle>
          <a:p>
            <a:pPr lvl="0"/>
            <a:r>
              <a:rPr lang="en-US" dirty="0" err="1"/>
              <a:t>Misc</a:t>
            </a:r>
            <a:r>
              <a:rPr lang="en-US" dirty="0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1211883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gradFill>
          <a:gsLst>
            <a:gs pos="0">
              <a:srgbClr val="414143"/>
            </a:gs>
            <a:gs pos="100000">
              <a:srgbClr val="6F6F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  <a:solidFill>
            <a:srgbClr val="F8F8F8"/>
          </a:solidFill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795123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54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32BA1E-3B8F-BD09-09C5-CE0917AEBF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559" y="722732"/>
            <a:ext cx="2470795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886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795123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54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501539-3A51-B62A-4781-7CF9146985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559" y="722732"/>
            <a:ext cx="2470795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7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117D2E-E841-3326-7331-B538A23F349D}"/>
              </a:ext>
            </a:extLst>
          </p:cNvPr>
          <p:cNvSpPr/>
          <p:nvPr userDrawn="1"/>
        </p:nvSpPr>
        <p:spPr>
          <a:xfrm>
            <a:off x="286558" y="152934"/>
            <a:ext cx="45719" cy="55245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7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Grey BG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2EC13C-02C9-8C0A-4014-3D94A264BB53}"/>
              </a:ext>
            </a:extLst>
          </p:cNvPr>
          <p:cNvSpPr/>
          <p:nvPr userDrawn="1"/>
        </p:nvSpPr>
        <p:spPr>
          <a:xfrm>
            <a:off x="3388" y="0"/>
            <a:ext cx="12188612" cy="86497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117D2E-E841-3326-7331-B538A23F349D}"/>
              </a:ext>
            </a:extLst>
          </p:cNvPr>
          <p:cNvSpPr/>
          <p:nvPr userDrawn="1"/>
        </p:nvSpPr>
        <p:spPr>
          <a:xfrm>
            <a:off x="286558" y="152934"/>
            <a:ext cx="45719" cy="55245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48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ef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2EC13C-02C9-8C0A-4014-3D94A264BB53}"/>
              </a:ext>
            </a:extLst>
          </p:cNvPr>
          <p:cNvSpPr/>
          <p:nvPr userDrawn="1"/>
        </p:nvSpPr>
        <p:spPr>
          <a:xfrm>
            <a:off x="3388" y="0"/>
            <a:ext cx="3735858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2346" y="775149"/>
            <a:ext cx="7245395" cy="43353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565" y="723995"/>
            <a:ext cx="2897839" cy="3216239"/>
          </a:xfrm>
        </p:spPr>
        <p:txBody>
          <a:bodyPr anchor="t" anchorCtr="0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974765-134E-83C1-C250-5BA987C7F729}"/>
              </a:ext>
            </a:extLst>
          </p:cNvPr>
          <p:cNvSpPr/>
          <p:nvPr userDrawn="1"/>
        </p:nvSpPr>
        <p:spPr>
          <a:xfrm>
            <a:off x="452191" y="385692"/>
            <a:ext cx="548640" cy="4572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247417-DD2F-99CA-AEFE-CAFBDF0DBA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364" y="6530371"/>
            <a:ext cx="920813" cy="25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279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F52AC-1B49-41CB-8EAA-A79BC9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3A7C1B-47C3-4385-29D7-59E8FFB5A975}"/>
              </a:ext>
            </a:extLst>
          </p:cNvPr>
          <p:cNvSpPr/>
          <p:nvPr userDrawn="1"/>
        </p:nvSpPr>
        <p:spPr>
          <a:xfrm>
            <a:off x="286558" y="152934"/>
            <a:ext cx="45719" cy="55245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786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73C894-87B5-45A5-913F-706FA10E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172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A0E9E-BFC3-4D87-8B67-48A193587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59637E-E6AB-49F6-9120-BF3251584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4500" y="1257300"/>
            <a:ext cx="3949700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906506-7692-4471-B0A7-656F9E27F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8200" y="1257300"/>
            <a:ext cx="6968966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4ADD2F-1E47-456E-9F49-904D1E8D175F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ADD41B-97CF-4045-A58F-39FC81DDCDF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213D4B-696F-8D5A-07A0-57CD9F43BCC2}"/>
              </a:ext>
            </a:extLst>
          </p:cNvPr>
          <p:cNvSpPr/>
          <p:nvPr userDrawn="1"/>
        </p:nvSpPr>
        <p:spPr>
          <a:xfrm>
            <a:off x="286558" y="152934"/>
            <a:ext cx="45719" cy="55245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32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5336" y="0"/>
            <a:ext cx="5586663" cy="6858000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621792" y="2249424"/>
            <a:ext cx="5648611" cy="926275"/>
          </a:xfr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lang="en-US" sz="4400" b="1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itle of the</a:t>
            </a:r>
            <a:br>
              <a:rPr lang="en-US" dirty="0"/>
            </a:br>
            <a:r>
              <a:rPr lang="en-US" dirty="0"/>
              <a:t>divider slid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0383B1E-F5CE-626F-68D6-17A42E8E3CAC}"/>
              </a:ext>
            </a:extLst>
          </p:cNvPr>
          <p:cNvCxnSpPr>
            <a:cxnSpLocks/>
          </p:cNvCxnSpPr>
          <p:nvPr userDrawn="1"/>
        </p:nvCxnSpPr>
        <p:spPr>
          <a:xfrm>
            <a:off x="734581" y="3254027"/>
            <a:ext cx="3544345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rgbClr val="FF8500"/>
                </a:gs>
              </a:gsLst>
              <a:lin ang="0" scaled="0"/>
            </a:gra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262E218-3840-46EF-77CF-9FEB820F80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4579" y="3390360"/>
            <a:ext cx="5648611" cy="40011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984A84-53FC-62CF-213B-9E40232CAC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579" y="5779785"/>
            <a:ext cx="1883709" cy="47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128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622030" y="2251704"/>
            <a:ext cx="5648611" cy="926275"/>
          </a:xfr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lang="en-US" sz="4400" b="1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itle of the</a:t>
            </a:r>
            <a:br>
              <a:rPr lang="en-US" dirty="0"/>
            </a:br>
            <a:r>
              <a:rPr lang="en-US" dirty="0"/>
              <a:t>divider sli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B2FC4D-93E0-6D6E-EB79-2A3F0D7E20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9323" y="0"/>
            <a:ext cx="5592679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37906C-F955-144E-FE6F-D631A6785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4579" y="3390360"/>
            <a:ext cx="5648611" cy="40011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83288F-D0C4-28FB-4D47-B34FE0F11E8F}"/>
              </a:ext>
            </a:extLst>
          </p:cNvPr>
          <p:cNvCxnSpPr>
            <a:cxnSpLocks/>
          </p:cNvCxnSpPr>
          <p:nvPr userDrawn="1"/>
        </p:nvCxnSpPr>
        <p:spPr>
          <a:xfrm>
            <a:off x="734581" y="3254027"/>
            <a:ext cx="3544345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rgbClr val="FF8500"/>
                </a:gs>
              </a:gsLst>
              <a:lin ang="0" scaled="0"/>
            </a:gra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3BB5771-9613-4628-AB79-7968835340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579" y="5779785"/>
            <a:ext cx="1883709" cy="47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6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1">
            <a:extLst>
              <a:ext uri="{FF2B5EF4-FFF2-40B4-BE49-F238E27FC236}">
                <a16:creationId xmlns:a16="http://schemas.microsoft.com/office/drawing/2014/main" id="{3005CBA4-ADDA-1111-3FAC-17494D71C04B}"/>
              </a:ext>
            </a:extLst>
          </p:cNvPr>
          <p:cNvSpPr/>
          <p:nvPr userDrawn="1"/>
        </p:nvSpPr>
        <p:spPr>
          <a:xfrm rot="16200000">
            <a:off x="11676351" y="6342351"/>
            <a:ext cx="502920" cy="528379"/>
          </a:xfrm>
          <a:custGeom>
            <a:avLst/>
            <a:gdLst>
              <a:gd name="connsiteX0" fmla="*/ 93663 w 893763"/>
              <a:gd name="connsiteY0" fmla="*/ 0 h 939007"/>
              <a:gd name="connsiteX1" fmla="*/ 893763 w 893763"/>
              <a:gd name="connsiteY1" fmla="*/ 800100 h 939007"/>
              <a:gd name="connsiteX2" fmla="*/ 879760 w 893763"/>
              <a:gd name="connsiteY2" fmla="*/ 939007 h 939007"/>
              <a:gd name="connsiteX3" fmla="*/ 0 w 893763"/>
              <a:gd name="connsiteY3" fmla="*/ 939007 h 939007"/>
              <a:gd name="connsiteX4" fmla="*/ 0 w 893763"/>
              <a:gd name="connsiteY4" fmla="*/ 9442 h 93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763" h="939007">
                <a:moveTo>
                  <a:pt x="93663" y="0"/>
                </a:moveTo>
                <a:cubicBezTo>
                  <a:pt x="535546" y="0"/>
                  <a:pt x="893763" y="358217"/>
                  <a:pt x="893763" y="800100"/>
                </a:cubicBezTo>
                <a:lnTo>
                  <a:pt x="879760" y="939007"/>
                </a:lnTo>
                <a:lnTo>
                  <a:pt x="0" y="939007"/>
                </a:lnTo>
                <a:lnTo>
                  <a:pt x="0" y="9442"/>
                </a:lnTo>
                <a:close/>
              </a:path>
            </a:pathLst>
          </a:custGeom>
          <a:gradFill>
            <a:gsLst>
              <a:gs pos="28000">
                <a:schemeClr val="accent2"/>
              </a:gs>
              <a:gs pos="100000">
                <a:schemeClr val="accent3"/>
              </a:gs>
            </a:gsLst>
            <a:lin ang="96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3877" y="1267424"/>
            <a:ext cx="11173289" cy="48719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6B5D24AA-1A74-4598-B7E1-36D527253B6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9AE2D300-785E-4BF7-ACE8-C421754FCA2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BDD8E1-1A5F-4459-ABDE-40EC5CDA923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364" y="6530371"/>
            <a:ext cx="920813" cy="253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0815639-1B52-4AEE-9674-86D96C041D4F}"/>
              </a:ext>
            </a:extLst>
          </p:cNvPr>
          <p:cNvSpPr txBox="1"/>
          <p:nvPr userDrawn="1"/>
        </p:nvSpPr>
        <p:spPr>
          <a:xfrm>
            <a:off x="11814346" y="6553288"/>
            <a:ext cx="335348" cy="24622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fld id="{C511D8BD-32BB-44F0-BAEA-0E3D368F8708}" type="slidenum">
              <a:rPr lang="en-GB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20000"/>
                </a:spcBef>
                <a:buClr>
                  <a:srgbClr val="6D6E71"/>
                </a:buClr>
              </a:pPr>
              <a:t>‹#›</a:t>
            </a:fld>
            <a:endParaRPr lang="en-GB" sz="10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2A8723-3A66-42A9-9761-A29778042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84571" y="6641126"/>
            <a:ext cx="2868206" cy="163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BFBFBF"/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pPr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68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0" r:id="rId2"/>
    <p:sldLayoutId id="2147483696" r:id="rId3"/>
    <p:sldLayoutId id="2147483697" r:id="rId4"/>
    <p:sldLayoutId id="2147483689" r:id="rId5"/>
    <p:sldLayoutId id="2147483692" r:id="rId6"/>
    <p:sldLayoutId id="2147483691" r:id="rId7"/>
    <p:sldLayoutId id="2147483685" r:id="rId8"/>
    <p:sldLayoutId id="2147483693" r:id="rId9"/>
    <p:sldLayoutId id="2147483687" r:id="rId10"/>
    <p:sldLayoutId id="2147483694" r:id="rId11"/>
    <p:sldLayoutId id="2147483695" r:id="rId12"/>
  </p:sldLayoutIdLst>
  <p:hf sldNum="0" hdr="0" ftr="0"/>
  <p:txStyles>
    <p:titleStyle>
      <a:lvl1pPr algn="l" defTabSz="609585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712" indent="-23071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504" indent="-230712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–"/>
        <a:defRPr sz="18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64098" indent="-228594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»"/>
        <a:defRPr sz="14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88459" indent="-224361" algn="l" defTabSz="60958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19170" indent="-230712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–"/>
        <a:defRPr sz="13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6">
          <p15:clr>
            <a:srgbClr val="F26B43"/>
          </p15:clr>
        </p15:guide>
        <p15:guide id="2" pos="277">
          <p15:clr>
            <a:srgbClr val="F26B43"/>
          </p15:clr>
        </p15:guide>
        <p15:guide id="3" pos="384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516">
          <p15:clr>
            <a:srgbClr val="F26B43"/>
          </p15:clr>
        </p15:guide>
        <p15:guide id="6" orient="horz" pos="3868">
          <p15:clr>
            <a:srgbClr val="F26B43"/>
          </p15:clr>
        </p15:guide>
        <p15:guide id="7" orient="horz" pos="23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21DF4-FE0D-390F-AF4D-6B343CE1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 Constrai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C1A4B3-636A-A130-4158-0D5379147E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onathan Sadl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D37EEF-12E1-D0D3-5F28-6DAC76E1B9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ec 8, 2023</a:t>
            </a:r>
          </a:p>
        </p:txBody>
      </p:sp>
    </p:spTree>
    <p:extLst>
      <p:ext uri="{BB962C8B-B14F-4D97-AF65-F5344CB8AC3E}">
        <p14:creationId xmlns:p14="http://schemas.microsoft.com/office/powerpoint/2010/main" val="263313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E7F99-6C27-044D-7536-F469D7471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 Constra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4A317-1AE3-CBC2-50F9-EE359934AF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th Constraints are different than link constraints as they assess the whole candidate path and not just a single link</a:t>
            </a:r>
          </a:p>
          <a:p>
            <a:pPr lvl="1"/>
            <a:r>
              <a:rPr lang="en-US" dirty="0"/>
              <a:t>Link Constraint example: Capacity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351AB-C4D3-F040-A72D-8CAE35CE3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29222" y="6349622"/>
            <a:ext cx="4976378" cy="3673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4303713" algn="ctr"/>
              </a:tabLst>
            </a:pPr>
            <a:r>
              <a:rPr lang="en-US"/>
              <a:t>Copyright © 2023 OIF                                                                      oif2023.422.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9B48DF-F426-35B6-5B1A-4EF9650D21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07700" y="6356350"/>
            <a:ext cx="186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884111-5CC2-DB42-8064-9D7E53C4B7C5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E03E439-81A9-05C6-8B4B-07BBD75E32DF}"/>
              </a:ext>
            </a:extLst>
          </p:cNvPr>
          <p:cNvCxnSpPr/>
          <p:nvPr/>
        </p:nvCxnSpPr>
        <p:spPr>
          <a:xfrm>
            <a:off x="2769079" y="4606671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09133B1-F397-B884-D3B4-DF868F4CDDE3}"/>
              </a:ext>
            </a:extLst>
          </p:cNvPr>
          <p:cNvSpPr/>
          <p:nvPr/>
        </p:nvSpPr>
        <p:spPr>
          <a:xfrm>
            <a:off x="3390181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CDAE3D0-D731-49DF-2D45-4CD4CF155B89}"/>
              </a:ext>
            </a:extLst>
          </p:cNvPr>
          <p:cNvSpPr/>
          <p:nvPr/>
        </p:nvSpPr>
        <p:spPr>
          <a:xfrm>
            <a:off x="3542581" y="47416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24FAE7-D940-33B8-A3A2-794E2C6C8119}"/>
              </a:ext>
            </a:extLst>
          </p:cNvPr>
          <p:cNvSpPr/>
          <p:nvPr/>
        </p:nvSpPr>
        <p:spPr>
          <a:xfrm>
            <a:off x="3734949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1B7B3BC-07E3-37CE-4D65-D23208DA2F4E}"/>
              </a:ext>
            </a:extLst>
          </p:cNvPr>
          <p:cNvCxnSpPr>
            <a:stCxn id="8" idx="6"/>
            <a:endCxn id="10" idx="3"/>
          </p:cNvCxnSpPr>
          <p:nvPr/>
        </p:nvCxnSpPr>
        <p:spPr>
          <a:xfrm>
            <a:off x="3435900" y="4612113"/>
            <a:ext cx="29904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99F968-4F0F-D6C3-62C3-1E61222635F8}"/>
              </a:ext>
            </a:extLst>
          </p:cNvPr>
          <p:cNvCxnSpPr>
            <a:cxnSpLocks/>
            <a:stCxn id="9" idx="1"/>
            <a:endCxn id="8" idx="5"/>
          </p:cNvCxnSpPr>
          <p:nvPr/>
        </p:nvCxnSpPr>
        <p:spPr>
          <a:xfrm flipH="1" flipV="1">
            <a:off x="3429205" y="4628277"/>
            <a:ext cx="120071" cy="1200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886C724-756E-2E6E-F109-5249BB02E308}"/>
              </a:ext>
            </a:extLst>
          </p:cNvPr>
          <p:cNvCxnSpPr>
            <a:cxnSpLocks/>
            <a:stCxn id="9" idx="7"/>
            <a:endCxn id="10" idx="3"/>
          </p:cNvCxnSpPr>
          <p:nvPr/>
        </p:nvCxnSpPr>
        <p:spPr>
          <a:xfrm flipV="1">
            <a:off x="3581605" y="4628277"/>
            <a:ext cx="160039" cy="1200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945268-34D1-ED24-DB5A-38C51A7EDE6D}"/>
              </a:ext>
            </a:extLst>
          </p:cNvPr>
          <p:cNvSpPr txBox="1"/>
          <p:nvPr/>
        </p:nvSpPr>
        <p:spPr>
          <a:xfrm>
            <a:off x="3399971" y="4327991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7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231B066-8B84-45E2-606B-873638A25D00}"/>
              </a:ext>
            </a:extLst>
          </p:cNvPr>
          <p:cNvSpPr txBox="1"/>
          <p:nvPr/>
        </p:nvSpPr>
        <p:spPr>
          <a:xfrm>
            <a:off x="3321500" y="4621901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ABF3E5-43CE-7F10-5CA5-5E3EA4083C71}"/>
              </a:ext>
            </a:extLst>
          </p:cNvPr>
          <p:cNvSpPr txBox="1"/>
          <p:nvPr/>
        </p:nvSpPr>
        <p:spPr>
          <a:xfrm>
            <a:off x="3552068" y="46306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C95280-4D67-6EFC-2EAE-D4BE830F02F1}"/>
              </a:ext>
            </a:extLst>
          </p:cNvPr>
          <p:cNvSpPr txBox="1"/>
          <p:nvPr/>
        </p:nvSpPr>
        <p:spPr>
          <a:xfrm>
            <a:off x="1245308" y="4621907"/>
            <a:ext cx="2177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pacity required = 3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44C77AA-F2E6-D6D3-AEB7-FD2010D16C51}"/>
              </a:ext>
            </a:extLst>
          </p:cNvPr>
          <p:cNvCxnSpPr/>
          <p:nvPr/>
        </p:nvCxnSpPr>
        <p:spPr>
          <a:xfrm>
            <a:off x="3870707" y="4619730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7530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E7F99-6C27-044D-7536-F469D7471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h Constra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4A317-1AE3-CBC2-50F9-EE359934AF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th Constraints are different than link constraints as they assess the whole path and not just a single link</a:t>
            </a:r>
          </a:p>
          <a:p>
            <a:pPr lvl="1"/>
            <a:r>
              <a:rPr lang="en-US" dirty="0"/>
              <a:t>Link Constraint example: Capacity</a:t>
            </a:r>
          </a:p>
          <a:p>
            <a:pPr lvl="1"/>
            <a:r>
              <a:rPr lang="en-US" dirty="0"/>
              <a:t>Path Constraint example: Latency</a:t>
            </a:r>
          </a:p>
          <a:p>
            <a:pPr lvl="2"/>
            <a:r>
              <a:rPr lang="en-US" dirty="0"/>
              <a:t>Will adding this link cause me to exceed my latency limit?</a:t>
            </a:r>
          </a:p>
          <a:p>
            <a:pPr lvl="1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351AB-C4D3-F040-A72D-8CAE35CE3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29222" y="6349622"/>
            <a:ext cx="4976378" cy="3673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4303713" algn="ctr"/>
              </a:tabLst>
            </a:pPr>
            <a:r>
              <a:rPr lang="en-US"/>
              <a:t>Copyright © 2023 OIF                                                                      oif2023.422.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9B48DF-F426-35B6-5B1A-4EF9650D21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07700" y="6356350"/>
            <a:ext cx="1866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884111-5CC2-DB42-8064-9D7E53C4B7C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E03E439-81A9-05C6-8B4B-07BBD75E32DF}"/>
              </a:ext>
            </a:extLst>
          </p:cNvPr>
          <p:cNvCxnSpPr/>
          <p:nvPr/>
        </p:nvCxnSpPr>
        <p:spPr>
          <a:xfrm>
            <a:off x="2769079" y="4606671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09133B1-F397-B884-D3B4-DF868F4CDDE3}"/>
              </a:ext>
            </a:extLst>
          </p:cNvPr>
          <p:cNvSpPr/>
          <p:nvPr/>
        </p:nvSpPr>
        <p:spPr>
          <a:xfrm>
            <a:off x="3390181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CDAE3D0-D731-49DF-2D45-4CD4CF155B89}"/>
              </a:ext>
            </a:extLst>
          </p:cNvPr>
          <p:cNvSpPr/>
          <p:nvPr/>
        </p:nvSpPr>
        <p:spPr>
          <a:xfrm>
            <a:off x="3542581" y="47416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24FAE7-D940-33B8-A3A2-794E2C6C8119}"/>
              </a:ext>
            </a:extLst>
          </p:cNvPr>
          <p:cNvSpPr/>
          <p:nvPr/>
        </p:nvSpPr>
        <p:spPr>
          <a:xfrm>
            <a:off x="3734949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1B7B3BC-07E3-37CE-4D65-D23208DA2F4E}"/>
              </a:ext>
            </a:extLst>
          </p:cNvPr>
          <p:cNvCxnSpPr>
            <a:stCxn id="8" idx="6"/>
            <a:endCxn id="10" idx="3"/>
          </p:cNvCxnSpPr>
          <p:nvPr/>
        </p:nvCxnSpPr>
        <p:spPr>
          <a:xfrm>
            <a:off x="3435900" y="4612113"/>
            <a:ext cx="29904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99F968-4F0F-D6C3-62C3-1E61222635F8}"/>
              </a:ext>
            </a:extLst>
          </p:cNvPr>
          <p:cNvCxnSpPr>
            <a:cxnSpLocks/>
            <a:stCxn id="9" idx="1"/>
            <a:endCxn id="8" idx="5"/>
          </p:cNvCxnSpPr>
          <p:nvPr/>
        </p:nvCxnSpPr>
        <p:spPr>
          <a:xfrm flipH="1" flipV="1">
            <a:off x="3429205" y="4628277"/>
            <a:ext cx="120071" cy="1200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886C724-756E-2E6E-F109-5249BB02E308}"/>
              </a:ext>
            </a:extLst>
          </p:cNvPr>
          <p:cNvCxnSpPr>
            <a:cxnSpLocks/>
            <a:stCxn id="9" idx="7"/>
            <a:endCxn id="10" idx="3"/>
          </p:cNvCxnSpPr>
          <p:nvPr/>
        </p:nvCxnSpPr>
        <p:spPr>
          <a:xfrm flipV="1">
            <a:off x="3581605" y="4628277"/>
            <a:ext cx="160039" cy="1200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8945268-34D1-ED24-DB5A-38C51A7EDE6D}"/>
              </a:ext>
            </a:extLst>
          </p:cNvPr>
          <p:cNvSpPr txBox="1"/>
          <p:nvPr/>
        </p:nvSpPr>
        <p:spPr>
          <a:xfrm>
            <a:off x="3399971" y="4327991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7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231B066-8B84-45E2-606B-873638A25D00}"/>
              </a:ext>
            </a:extLst>
          </p:cNvPr>
          <p:cNvSpPr txBox="1"/>
          <p:nvPr/>
        </p:nvSpPr>
        <p:spPr>
          <a:xfrm>
            <a:off x="3321500" y="4621901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ABF3E5-43CE-7F10-5CA5-5E3EA4083C71}"/>
              </a:ext>
            </a:extLst>
          </p:cNvPr>
          <p:cNvSpPr txBox="1"/>
          <p:nvPr/>
        </p:nvSpPr>
        <p:spPr>
          <a:xfrm>
            <a:off x="3552068" y="46306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C95280-4D67-6EFC-2EAE-D4BE830F02F1}"/>
              </a:ext>
            </a:extLst>
          </p:cNvPr>
          <p:cNvSpPr txBox="1"/>
          <p:nvPr/>
        </p:nvSpPr>
        <p:spPr>
          <a:xfrm>
            <a:off x="1375943" y="4621907"/>
            <a:ext cx="17525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Latency</a:t>
            </a:r>
            <a:r>
              <a:rPr lang="en-US" baseline="-25000" dirty="0" err="1"/>
              <a:t>INPUT</a:t>
            </a:r>
            <a:r>
              <a:rPr lang="en-US" dirty="0"/>
              <a:t> = 10</a:t>
            </a:r>
          </a:p>
          <a:p>
            <a:r>
              <a:rPr lang="en-US" dirty="0" err="1"/>
              <a:t>Latency</a:t>
            </a:r>
            <a:r>
              <a:rPr lang="en-US" baseline="-25000" dirty="0" err="1"/>
              <a:t>MAX</a:t>
            </a:r>
            <a:r>
              <a:rPr lang="en-US" dirty="0"/>
              <a:t>=25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44C77AA-F2E6-D6D3-AEB7-FD2010D16C51}"/>
              </a:ext>
            </a:extLst>
          </p:cNvPr>
          <p:cNvCxnSpPr/>
          <p:nvPr/>
        </p:nvCxnSpPr>
        <p:spPr>
          <a:xfrm>
            <a:off x="3870707" y="4619730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665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1B148-42E3-7C47-A65B-118B7F06F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not just replace Cost with the Path Constrain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36289B-E518-1530-6A23-9D51711533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Goal is to compute the lowest cost link that </a:t>
            </a:r>
            <a:r>
              <a:rPr lang="en-US" b="1" i="1" dirty="0"/>
              <a:t>complies</a:t>
            </a:r>
            <a:r>
              <a:rPr lang="en-US" dirty="0"/>
              <a:t> with the path constraint</a:t>
            </a:r>
          </a:p>
          <a:p>
            <a:r>
              <a:rPr lang="en-US" dirty="0"/>
              <a:t>Dijkstra’s Cost is used to optimize (i.e. shortest path) the path being computed</a:t>
            </a:r>
          </a:p>
          <a:p>
            <a:pPr lvl="1"/>
            <a:r>
              <a:rPr lang="en-US" dirty="0"/>
              <a:t>This means if the Cost is replaced with the attribute being used for the Path Constraint, the result will be optimized for that attribute.</a:t>
            </a:r>
          </a:p>
          <a:p>
            <a:pPr lvl="2"/>
            <a:r>
              <a:rPr lang="en-US" dirty="0"/>
              <a:t>Replacing Cost with the Path Constraint attribute means a connection will use the path with the lowest aggregated attribute, independent of cost.</a:t>
            </a:r>
          </a:p>
          <a:p>
            <a:pPr lvl="1"/>
            <a:r>
              <a:rPr lang="en-US" dirty="0"/>
              <a:t>Removing the “Cost” attribute means that the administrator does not have any “knobs” to bias traffic towards/away from specific links</a:t>
            </a:r>
          </a:p>
          <a:p>
            <a:r>
              <a:rPr lang="en-US" dirty="0"/>
              <a:t>Consider the following scenario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BCC1FE-85C0-5A6B-64C5-F38480E29B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351C159-4F41-E3BF-4D49-271FE4E07FA1}"/>
              </a:ext>
            </a:extLst>
          </p:cNvPr>
          <p:cNvCxnSpPr/>
          <p:nvPr/>
        </p:nvCxnSpPr>
        <p:spPr>
          <a:xfrm>
            <a:off x="2769079" y="4606671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DE61F7EE-D2B5-44C5-D8D9-7D2E31751870}"/>
              </a:ext>
            </a:extLst>
          </p:cNvPr>
          <p:cNvSpPr/>
          <p:nvPr/>
        </p:nvSpPr>
        <p:spPr>
          <a:xfrm>
            <a:off x="3390181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AF506A8-C1B4-0153-4AA4-999C7DFDB691}"/>
              </a:ext>
            </a:extLst>
          </p:cNvPr>
          <p:cNvSpPr/>
          <p:nvPr/>
        </p:nvSpPr>
        <p:spPr>
          <a:xfrm>
            <a:off x="3542581" y="47416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73D401-61B1-C0C3-8039-39F6EADEF499}"/>
              </a:ext>
            </a:extLst>
          </p:cNvPr>
          <p:cNvSpPr/>
          <p:nvPr/>
        </p:nvSpPr>
        <p:spPr>
          <a:xfrm>
            <a:off x="3734949" y="4589253"/>
            <a:ext cx="45719" cy="4571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A819BD-0F83-135B-331D-18936289B735}"/>
              </a:ext>
            </a:extLst>
          </p:cNvPr>
          <p:cNvCxnSpPr>
            <a:stCxn id="6" idx="6"/>
            <a:endCxn id="8" idx="3"/>
          </p:cNvCxnSpPr>
          <p:nvPr/>
        </p:nvCxnSpPr>
        <p:spPr>
          <a:xfrm>
            <a:off x="3435900" y="4612113"/>
            <a:ext cx="29904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63A8448-B212-E966-49FA-AFC143210F1E}"/>
              </a:ext>
            </a:extLst>
          </p:cNvPr>
          <p:cNvCxnSpPr>
            <a:cxnSpLocks/>
            <a:stCxn id="7" idx="1"/>
            <a:endCxn id="6" idx="5"/>
          </p:cNvCxnSpPr>
          <p:nvPr/>
        </p:nvCxnSpPr>
        <p:spPr>
          <a:xfrm flipH="1" flipV="1">
            <a:off x="3429205" y="4628277"/>
            <a:ext cx="120071" cy="1200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400D33-499A-BDE5-CE7D-21F905C1D7CE}"/>
              </a:ext>
            </a:extLst>
          </p:cNvPr>
          <p:cNvCxnSpPr>
            <a:cxnSpLocks/>
            <a:stCxn id="7" idx="7"/>
            <a:endCxn id="8" idx="3"/>
          </p:cNvCxnSpPr>
          <p:nvPr/>
        </p:nvCxnSpPr>
        <p:spPr>
          <a:xfrm flipV="1">
            <a:off x="3581605" y="4628277"/>
            <a:ext cx="160039" cy="12007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4BFAD49-FA8A-90FA-4FA4-7AD8573D947A}"/>
              </a:ext>
            </a:extLst>
          </p:cNvPr>
          <p:cNvSpPr txBox="1"/>
          <p:nvPr/>
        </p:nvSpPr>
        <p:spPr>
          <a:xfrm>
            <a:off x="3399971" y="4327991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5DE1D7-6C95-3718-77B7-554F83AE2710}"/>
              </a:ext>
            </a:extLst>
          </p:cNvPr>
          <p:cNvSpPr txBox="1"/>
          <p:nvPr/>
        </p:nvSpPr>
        <p:spPr>
          <a:xfrm>
            <a:off x="3273875" y="4621901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8BC838-D7EF-4D2E-1155-CF35C3A1110D}"/>
              </a:ext>
            </a:extLst>
          </p:cNvPr>
          <p:cNvSpPr txBox="1"/>
          <p:nvPr/>
        </p:nvSpPr>
        <p:spPr>
          <a:xfrm>
            <a:off x="3599693" y="46306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9E525B-729E-B507-A5AB-BF97E5BBDCCE}"/>
              </a:ext>
            </a:extLst>
          </p:cNvPr>
          <p:cNvSpPr txBox="1"/>
          <p:nvPr/>
        </p:nvSpPr>
        <p:spPr>
          <a:xfrm>
            <a:off x="1375943" y="4621907"/>
            <a:ext cx="17525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Latency</a:t>
            </a:r>
            <a:r>
              <a:rPr lang="en-US" baseline="-25000" dirty="0" err="1"/>
              <a:t>INPUT</a:t>
            </a:r>
            <a:r>
              <a:rPr lang="en-US" dirty="0"/>
              <a:t> = 10</a:t>
            </a:r>
          </a:p>
          <a:p>
            <a:r>
              <a:rPr lang="en-US" dirty="0" err="1"/>
              <a:t>Latency</a:t>
            </a:r>
            <a:r>
              <a:rPr lang="en-US" baseline="-25000" dirty="0" err="1"/>
              <a:t>MAX</a:t>
            </a:r>
            <a:r>
              <a:rPr lang="en-US" dirty="0"/>
              <a:t>=25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7956B8-8DC4-342B-2D69-94CD28E58C64}"/>
              </a:ext>
            </a:extLst>
          </p:cNvPr>
          <p:cNvCxnSpPr/>
          <p:nvPr/>
        </p:nvCxnSpPr>
        <p:spPr>
          <a:xfrm>
            <a:off x="3870707" y="4619730"/>
            <a:ext cx="5175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8CB57B6-3612-196D-0E2F-3ECF23FAB83A}"/>
              </a:ext>
            </a:extLst>
          </p:cNvPr>
          <p:cNvSpPr txBox="1"/>
          <p:nvPr/>
        </p:nvSpPr>
        <p:spPr>
          <a:xfrm>
            <a:off x="3439827" y="4170895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DDCFB9-796B-8261-786B-8445DB3E80CD}"/>
              </a:ext>
            </a:extLst>
          </p:cNvPr>
          <p:cNvSpPr txBox="1"/>
          <p:nvPr/>
        </p:nvSpPr>
        <p:spPr>
          <a:xfrm>
            <a:off x="3620363" y="4787528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8EB65C9-1B35-F08B-C723-894353B12D13}"/>
              </a:ext>
            </a:extLst>
          </p:cNvPr>
          <p:cNvSpPr txBox="1"/>
          <p:nvPr/>
        </p:nvSpPr>
        <p:spPr>
          <a:xfrm>
            <a:off x="3232766" y="4799251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1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57E608A-3A7F-8DA5-BD6F-B2108333EE16}"/>
              </a:ext>
            </a:extLst>
          </p:cNvPr>
          <p:cNvSpPr txBox="1"/>
          <p:nvPr/>
        </p:nvSpPr>
        <p:spPr>
          <a:xfrm>
            <a:off x="3226466" y="4323295"/>
            <a:ext cx="293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</a:rPr>
              <a:t>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3445661-214E-2E49-F859-88F04E338A95}"/>
              </a:ext>
            </a:extLst>
          </p:cNvPr>
          <p:cNvSpPr txBox="1"/>
          <p:nvPr/>
        </p:nvSpPr>
        <p:spPr>
          <a:xfrm>
            <a:off x="3632084" y="4335015"/>
            <a:ext cx="2792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</a:rPr>
              <a:t>C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89C6D88-4884-F1EE-5C2F-954D777294E9}"/>
              </a:ext>
            </a:extLst>
          </p:cNvPr>
          <p:cNvSpPr txBox="1"/>
          <p:nvPr/>
        </p:nvSpPr>
        <p:spPr>
          <a:xfrm>
            <a:off x="3446852" y="4740634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3554367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F0D34-593D-6012-AD09-84F25EC40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Path Constraints be used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B7EF3D-4E43-0957-66CB-00FC9E9FCF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Initial example was Latency</a:t>
            </a:r>
          </a:p>
          <a:p>
            <a:pPr lvl="1"/>
            <a:r>
              <a:rPr lang="en-US" dirty="0"/>
              <a:t>Important for some services that are Latency sensitive</a:t>
            </a:r>
          </a:p>
          <a:p>
            <a:pPr lvl="2"/>
            <a:r>
              <a:rPr lang="en-US" dirty="0"/>
              <a:t>Example: Fiber Channel has buffer size limitations which become problems when latency is high.</a:t>
            </a:r>
          </a:p>
          <a:p>
            <a:pPr lvl="1"/>
            <a:r>
              <a:rPr lang="en-US" dirty="0"/>
              <a:t>Also Important for some services that want data delivered as fast as possible</a:t>
            </a:r>
          </a:p>
          <a:p>
            <a:pPr lvl="2"/>
            <a:r>
              <a:rPr lang="en-US" dirty="0"/>
              <a:t>Example: Chicago-New York fiber route used for arbitrage trading</a:t>
            </a:r>
          </a:p>
          <a:p>
            <a:endParaRPr lang="en-US" dirty="0"/>
          </a:p>
          <a:p>
            <a:r>
              <a:rPr lang="en-US" dirty="0"/>
              <a:t>Other Examples</a:t>
            </a:r>
          </a:p>
          <a:p>
            <a:pPr lvl="1"/>
            <a:r>
              <a:rPr lang="en-US" dirty="0"/>
              <a:t>Optical Impairments limiting OSNR</a:t>
            </a:r>
          </a:p>
          <a:p>
            <a:pPr lvl="2"/>
            <a:r>
              <a:rPr lang="en-US" dirty="0"/>
              <a:t>Per candidate computed impairments can determine if a candidate is compliant or not</a:t>
            </a:r>
          </a:p>
          <a:p>
            <a:pPr lvl="3"/>
            <a:r>
              <a:rPr lang="en-US" dirty="0"/>
              <a:t>Computed impairment recognizes that many optical impairments are not simple linear calculations (e.g. RMS, dB summation)</a:t>
            </a:r>
          </a:p>
          <a:p>
            <a:pPr lvl="1"/>
            <a:r>
              <a:rPr lang="en-US" dirty="0"/>
              <a:t>Chromatic Dispersion limiting optical receiver</a:t>
            </a:r>
          </a:p>
          <a:p>
            <a:endParaRPr lang="en-US" dirty="0"/>
          </a:p>
          <a:p>
            <a:r>
              <a:rPr lang="en-US" dirty="0"/>
              <a:t>Treating Path Constraints as constraints (instead of costs) makes it possible to handle multiple constraints at the same time</a:t>
            </a:r>
          </a:p>
          <a:p>
            <a:pPr lvl="1"/>
            <a:r>
              <a:rPr lang="en-US" dirty="0"/>
              <a:t>Don’t have to deal with multiple simultaneous optimizations </a:t>
            </a:r>
          </a:p>
          <a:p>
            <a:pPr lvl="1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B65119-0F30-6546-8887-AB4250CF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42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B3EBA-6EDD-04C7-6B4D-3C92C401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jksta</a:t>
            </a:r>
            <a:r>
              <a:rPr lang="en-US" dirty="0"/>
              <a:t> modifications necessar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535C6B-DF54-77B2-F9A0-BB2CE862DB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look into this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AD073-BE42-CCFF-86DE-954AF5751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248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07859-6492-FCC3-7CF9-2BD6C4344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454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heme/theme1.xml><?xml version="1.0" encoding="utf-8"?>
<a:theme xmlns:a="http://schemas.openxmlformats.org/drawingml/2006/main" name="Infinera-2019-PPT-Theme">
  <a:themeElements>
    <a:clrScheme name="Custom 1">
      <a:dk1>
        <a:srgbClr val="000000"/>
      </a:dk1>
      <a:lt1>
        <a:srgbClr val="FFFFFF"/>
      </a:lt1>
      <a:dk2>
        <a:srgbClr val="5A5A5A"/>
      </a:dk2>
      <a:lt2>
        <a:srgbClr val="FF0600"/>
      </a:lt2>
      <a:accent1>
        <a:srgbClr val="FF4A00"/>
      </a:accent1>
      <a:accent2>
        <a:srgbClr val="FF8500"/>
      </a:accent2>
      <a:accent3>
        <a:srgbClr val="FBB400"/>
      </a:accent3>
      <a:accent4>
        <a:srgbClr val="4BBB7C"/>
      </a:accent4>
      <a:accent5>
        <a:srgbClr val="009DFF"/>
      </a:accent5>
      <a:accent6>
        <a:srgbClr val="293F95"/>
      </a:accent6>
      <a:hlink>
        <a:srgbClr val="283F95"/>
      </a:hlink>
      <a:folHlink>
        <a:srgbClr val="283F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75000"/>
            </a:schemeClr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algn="l">
          <a:spcBef>
            <a:spcPct val="20000"/>
          </a:spcBef>
          <a:buClr>
            <a:srgbClr val="6D6E71"/>
          </a:buCl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2456CCF-4501-4900-A4E6-2E015D8F35E3}" vid="{EC307E42-F219-407F-8CBA-AE04E0D34E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1abbc47-c2be-464f-9667-bf02faf1fccb">
      <UserInfo>
        <DisplayName>Al Honorio</DisplayName>
        <AccountId>6245</AccountId>
        <AccountType/>
      </UserInfo>
    </SharedWithUsers>
    <_dlc_DocId xmlns="51abbc47-c2be-464f-9667-bf02faf1fccb">V5D6TNRMMWP6-80733068-268628</_dlc_DocId>
    <_dlc_DocIdUrl xmlns="51abbc47-c2be-464f-9667-bf02faf1fccb">
      <Url>https://infinera.sharepoint.com/sites/smarter/_layouts/15/DocIdRedir.aspx?ID=V5D6TNRMMWP6-80733068-268628</Url>
      <Description>V5D6TNRMMWP6-80733068-268628</Description>
    </_dlc_DocIdUrl>
    <Comment xmlns="9f8a46c4-3620-427b-9554-1b5473809845" xsi:nil="true"/>
    <TaxCatchAll xmlns="51abbc47-c2be-464f-9667-bf02faf1fccb" xsi:nil="true"/>
    <lcf76f155ced4ddcb4097134ff3c332f xmlns="9f8a46c4-3620-427b-9554-1b547380984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ED14F1364A854C82295FD1DA13E8EC" ma:contentTypeVersion="131" ma:contentTypeDescription="Create a new document." ma:contentTypeScope="" ma:versionID="45c13b41bd450ab7b0da60d014647556">
  <xsd:schema xmlns:xsd="http://www.w3.org/2001/XMLSchema" xmlns:xs="http://www.w3.org/2001/XMLSchema" xmlns:p="http://schemas.microsoft.com/office/2006/metadata/properties" xmlns:ns2="51abbc47-c2be-464f-9667-bf02faf1fccb" xmlns:ns3="9f8a46c4-3620-427b-9554-1b5473809845" targetNamespace="http://schemas.microsoft.com/office/2006/metadata/properties" ma:root="true" ma:fieldsID="369a369f654f8db1c5bc204131c1d4ec" ns2:_="" ns3:_="">
    <xsd:import namespace="51abbc47-c2be-464f-9667-bf02faf1fccb"/>
    <xsd:import namespace="9f8a46c4-3620-427b-9554-1b547380984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2:SharedWithUsers" minOccurs="0"/>
                <xsd:element ref="ns2:SharedWithDetail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Comment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abbc47-c2be-464f-9667-bf02faf1fcc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bfa87643-3161-4cc8-8e1a-2a48a9e4ca9c}" ma:internalName="TaxCatchAll" ma:showField="CatchAllData" ma:web="51abbc47-c2be-464f-9667-bf02faf1fc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8a46c4-3620-427b-9554-1b54738098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Comment" ma:index="23" nillable="true" ma:displayName="Comment" ma:format="Dropdown" ma:internalName="Comment">
      <xsd:simpleType>
        <xsd:restriction base="dms:Text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23a80b39-6b0e-443e-b536-be55d70a95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E5050B-CFBF-4736-9E56-64EB936D510D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9f8a46c4-3620-427b-9554-1b5473809845"/>
    <ds:schemaRef ds:uri="51abbc47-c2be-464f-9667-bf02faf1fcc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4B84421-932E-4FB2-8D3F-606AAC57D0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4C34B6-CF6F-4080-8A25-C27C277E858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48D75FB-DC7C-43D2-B0D4-51DD9652E6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abbc47-c2be-464f-9667-bf02faf1fccb"/>
    <ds:schemaRef ds:uri="9f8a46c4-3620-427b-9554-1b54738098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inera 2023 PowerPoint Template</Template>
  <TotalTime>26</TotalTime>
  <Words>421</Words>
  <Application>Microsoft Office PowerPoint</Application>
  <PresentationFormat>Widescreen</PresentationFormat>
  <Paragraphs>62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Wingdings</vt:lpstr>
      <vt:lpstr>Infinera-2019-PPT-Theme</vt:lpstr>
      <vt:lpstr>Path Constraints</vt:lpstr>
      <vt:lpstr>Path Constraints</vt:lpstr>
      <vt:lpstr>Path Constraints</vt:lpstr>
      <vt:lpstr>Why not just replace Cost with the Path Constraint?</vt:lpstr>
      <vt:lpstr>How can Path Constraints be used?</vt:lpstr>
      <vt:lpstr>Dijksta modifications necessary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h Constraints</dc:title>
  <dc:creator>Jonathan Sadler</dc:creator>
  <cp:lastModifiedBy>Jonathan Sadler</cp:lastModifiedBy>
  <cp:revision>1</cp:revision>
  <dcterms:created xsi:type="dcterms:W3CDTF">2023-12-08T21:16:55Z</dcterms:created>
  <dcterms:modified xsi:type="dcterms:W3CDTF">2023-12-08T21:4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ED14F1364A854C82295FD1DA13E8EC</vt:lpwstr>
  </property>
  <property fmtid="{D5CDD505-2E9C-101B-9397-08002B2CF9AE}" pid="3" name="_dlc_DocIdItemGuid">
    <vt:lpwstr>15a884cb-366f-480a-bc1f-9738643381d3</vt:lpwstr>
  </property>
  <property fmtid="{D5CDD505-2E9C-101B-9397-08002B2CF9AE}" pid="4" name="MediaServiceImageTags">
    <vt:lpwstr/>
  </property>
</Properties>
</file>